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256" r:id="rId2"/>
    <p:sldId id="269" r:id="rId3"/>
    <p:sldId id="278" r:id="rId4"/>
    <p:sldId id="270" r:id="rId5"/>
    <p:sldId id="277" r:id="rId6"/>
    <p:sldId id="279" r:id="rId7"/>
    <p:sldId id="280" r:id="rId8"/>
    <p:sldId id="261" r:id="rId9"/>
  </p:sldIdLst>
  <p:sldSz cx="9144000" cy="6858000" type="screen4x3"/>
  <p:notesSz cx="6858000" cy="9144000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6201" autoAdjust="0"/>
  </p:normalViewPr>
  <p:slideViewPr>
    <p:cSldViewPr snapToGrid="0">
      <p:cViewPr varScale="1">
        <p:scale>
          <a:sx n="110" d="100"/>
          <a:sy n="110" d="100"/>
        </p:scale>
        <p:origin x="966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9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CDB8ECEF-8AA4-42EA-91B9-24EB350F7693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0829CC21-9B03-4F54-980B-24C46ED79196}"/>
              </a:ext>
            </a:extLst>
          </p:cNvPr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2CE12F6-4DF2-40E8-A332-41A64596D872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>
            <a:extLst>
              <a:ext uri="{FF2B5EF4-FFF2-40B4-BE49-F238E27FC236}">
                <a16:creationId xmlns:a16="http://schemas.microsoft.com/office/drawing/2014/main" id="{B1EAA4D7-2566-4003-9FF5-B0DDAFBA6DB3}"/>
              </a:ext>
            </a:extLst>
          </p:cNvPr>
          <p:cNvSpPr>
            <a:spLocks/>
          </p:cNvSpPr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C2E8BCB0-2695-45F4-B544-11AF81033D85}"/>
              </a:ext>
            </a:extLst>
          </p:cNvPr>
          <p:cNvSpPr>
            <a:spLocks/>
          </p:cNvSpPr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EA8F6A47-44E1-46BB-BA10-339B5084D5D0}"/>
              </a:ext>
            </a:extLst>
          </p:cNvPr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>
            <a:extLst>
              <a:ext uri="{FF2B5EF4-FFF2-40B4-BE49-F238E27FC236}">
                <a16:creationId xmlns:a16="http://schemas.microsoft.com/office/drawing/2014/main" id="{DE040619-F39F-44AE-A60B-08D1066BFEF5}"/>
              </a:ext>
            </a:extLst>
          </p:cNvPr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>
            <a:extLst>
              <a:ext uri="{FF2B5EF4-FFF2-40B4-BE49-F238E27FC236}">
                <a16:creationId xmlns:a16="http://schemas.microsoft.com/office/drawing/2014/main" id="{4C782D13-E61E-4D14-9A33-F44EA27CA709}"/>
              </a:ext>
            </a:extLst>
          </p:cNvPr>
          <p:cNvSpPr>
            <a:spLocks/>
          </p:cNvSpPr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8D7616-45BD-4C83-8015-231C18266E6D}"/>
              </a:ext>
            </a:extLst>
          </p:cNvPr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C6FA2216-82B7-4F61-8629-CA98E8FA06E1}"/>
              </a:ext>
            </a:extLst>
          </p:cNvPr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CE3DC02-40DE-4998-B99A-39FCAEB06AC5}"/>
              </a:ext>
            </a:extLst>
          </p:cNvPr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81246B4-0650-4320-A820-B417F479A53E}"/>
              </a:ext>
            </a:extLst>
          </p:cNvPr>
          <p:cNvSpPr>
            <a:spLocks/>
          </p:cNvSpPr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8E136EA-A8F2-47DA-A96D-77980EAAC351}"/>
              </a:ext>
            </a:extLst>
          </p:cNvPr>
          <p:cNvSpPr>
            <a:spLocks/>
          </p:cNvSpPr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zh-CN" altLang="en-US" sz="1350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012BB78F-E5F9-495E-969F-BE08951B2F76}"/>
              </a:ext>
            </a:extLst>
          </p:cNvPr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F4B0F25-8F09-4535-B23E-2A4A5AAB2C37}"/>
              </a:ext>
            </a:extLst>
          </p:cNvPr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9/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9/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9B7B4809-6422-487B-B339-AC10E4A5D4B1}"/>
              </a:ext>
            </a:extLst>
          </p:cNvPr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FA9CED44-D7E4-44D2-B7FD-F89B4DCC6E54}"/>
                </a:ext>
              </a:extLst>
            </p:cNvPr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4BF3A0C-4197-4E26-B94B-4269BB6A25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6F55EC3-3122-4888-ABD7-2A9003A2B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2504953-DBCA-47F8-8B5A-4EF71CB80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123C0C-7740-4668-9994-48629AE91F14}"/>
                </a:ext>
              </a:extLst>
            </p:cNvPr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D990525-EB32-44BF-B51C-C218BECA01C2}"/>
                </a:ext>
              </a:extLst>
            </p:cNvPr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F611E8F-302C-455F-8D3A-3CF52F0DA6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350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5C86D5-A76F-422D-BD11-9ABEDF688054}"/>
                </a:ext>
              </a:extLst>
            </p:cNvPr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6B4C74D3-0C8F-48A5-80B7-74125884F2E3}"/>
              </a:ext>
            </a:extLst>
          </p:cNvPr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9/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7" userDrawn="1">
          <p15:clr>
            <a:srgbClr val="F26B43"/>
          </p15:clr>
        </p15:guide>
        <p15:guide id="2" pos="5443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600" dirty="0"/>
              <a:t>论文进度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400" dirty="0"/>
              <a:t>宋士增</a:t>
            </a:r>
            <a:endParaRPr lang="en-US" altLang="zh-CN" sz="14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sz="1400" dirty="0"/>
              <a:t>2018</a:t>
            </a:r>
            <a:r>
              <a:rPr lang="zh-CN" altLang="en-US" sz="1400" dirty="0"/>
              <a:t>年</a:t>
            </a:r>
            <a:r>
              <a:rPr lang="en-US" altLang="zh-CN" sz="1400" dirty="0"/>
              <a:t>9</a:t>
            </a:r>
            <a:r>
              <a:rPr lang="zh-CN" altLang="en-US" sz="1400" dirty="0"/>
              <a:t>月</a:t>
            </a:r>
            <a:r>
              <a:rPr lang="en-US" altLang="zh-CN" sz="1400" dirty="0"/>
              <a:t>6</a:t>
            </a:r>
            <a:r>
              <a:rPr lang="zh-CN" altLang="en-US" sz="1400" dirty="0"/>
              <a:t>日</a:t>
            </a:r>
            <a:endParaRPr lang="en-US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684182" y="935082"/>
            <a:ext cx="7404930" cy="5133975"/>
            <a:chOff x="395384" y="127000"/>
            <a:chExt cx="9873237" cy="6845300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395384" y="127000"/>
              <a:ext cx="9873237" cy="6845300"/>
              <a:chOff x="827915" y="127000"/>
              <a:chExt cx="9489373" cy="6845300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5810130" y="1802855"/>
                <a:ext cx="4507158" cy="3493588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背景介绍</a:t>
                </a: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总体目标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具体步骤</a:t>
                </a: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论文数据与方法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22213" y="127000"/>
                <a:ext cx="0" cy="6845300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827915" y="1089892"/>
                <a:ext cx="3123683" cy="7797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32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91659" y="4912208"/>
              <a:ext cx="1658381" cy="1744415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 sz="135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背景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3480197" y="6335540"/>
            <a:ext cx="2182416" cy="206381"/>
          </a:xfrm>
        </p:spPr>
        <p:txBody>
          <a:bodyPr/>
          <a:lstStyle/>
          <a:p>
            <a:pPr algn="ctr"/>
            <a:r>
              <a:rPr lang="zh-CN" altLang="en-US" dirty="0"/>
              <a:t>注：图引自常浩武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73A9748-D505-468A-B72E-AE73AC6112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666" y="1162603"/>
            <a:ext cx="6929538" cy="5197154"/>
          </a:xfrm>
          <a:prstGeom prst="rect">
            <a:avLst/>
          </a:prstGeom>
        </p:spPr>
      </p:pic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154796CE-804A-4C4A-A688-EE76FAC0299A}"/>
              </a:ext>
            </a:extLst>
          </p:cNvPr>
          <p:cNvCxnSpPr/>
          <p:nvPr/>
        </p:nvCxnSpPr>
        <p:spPr>
          <a:xfrm flipH="1">
            <a:off x="3572109" y="3030244"/>
            <a:ext cx="459865" cy="1210595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弧形 8">
            <a:extLst>
              <a:ext uri="{FF2B5EF4-FFF2-40B4-BE49-F238E27FC236}">
                <a16:creationId xmlns:a16="http://schemas.microsoft.com/office/drawing/2014/main" id="{8089B3AC-35CF-4A95-827A-8B198C58A788}"/>
              </a:ext>
            </a:extLst>
          </p:cNvPr>
          <p:cNvSpPr/>
          <p:nvPr/>
        </p:nvSpPr>
        <p:spPr>
          <a:xfrm>
            <a:off x="2877192" y="1890090"/>
            <a:ext cx="1962051" cy="1140153"/>
          </a:xfrm>
          <a:prstGeom prst="arc">
            <a:avLst>
              <a:gd name="adj1" fmla="val 922617"/>
              <a:gd name="adj2" fmla="val 10452276"/>
            </a:avLst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线形标注 2 7">
            <a:extLst>
              <a:ext uri="{FF2B5EF4-FFF2-40B4-BE49-F238E27FC236}">
                <a16:creationId xmlns:a16="http://schemas.microsoft.com/office/drawing/2014/main" id="{3201C234-3956-47DE-896D-2BB3A40794B0}"/>
              </a:ext>
            </a:extLst>
          </p:cNvPr>
          <p:cNvSpPr/>
          <p:nvPr/>
        </p:nvSpPr>
        <p:spPr>
          <a:xfrm>
            <a:off x="928706" y="3030243"/>
            <a:ext cx="1060396" cy="332068"/>
          </a:xfrm>
          <a:prstGeom prst="borderCallout2">
            <a:avLst>
              <a:gd name="adj1" fmla="val 35817"/>
              <a:gd name="adj2" fmla="val 105132"/>
              <a:gd name="adj3" fmla="val 35816"/>
              <a:gd name="adj4" fmla="val 143091"/>
              <a:gd name="adj5" fmla="val -229979"/>
              <a:gd name="adj6" fmla="val 175976"/>
            </a:avLst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</a:rPr>
              <a:t>Pi-sRNA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1" name="线形标注 2 8">
            <a:extLst>
              <a:ext uri="{FF2B5EF4-FFF2-40B4-BE49-F238E27FC236}">
                <a16:creationId xmlns:a16="http://schemas.microsoft.com/office/drawing/2014/main" id="{FF019B80-87CE-451B-BCCA-1F73BED0B2C7}"/>
              </a:ext>
            </a:extLst>
          </p:cNvPr>
          <p:cNvSpPr/>
          <p:nvPr/>
        </p:nvSpPr>
        <p:spPr>
          <a:xfrm>
            <a:off x="7072297" y="3153281"/>
            <a:ext cx="1325729" cy="341247"/>
          </a:xfrm>
          <a:prstGeom prst="borderCallout2">
            <a:avLst>
              <a:gd name="adj1" fmla="val 39614"/>
              <a:gd name="adj2" fmla="val -7258"/>
              <a:gd name="adj3" fmla="val 42404"/>
              <a:gd name="adj4" fmla="val -151837"/>
              <a:gd name="adj5" fmla="val -369742"/>
              <a:gd name="adj6" fmla="val -159291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err="1">
                <a:solidFill>
                  <a:schemeClr val="tx1"/>
                </a:solidFill>
              </a:rPr>
              <a:t>stu</a:t>
            </a:r>
            <a:r>
              <a:rPr lang="en-US" altLang="zh-CN" sz="1600" dirty="0">
                <a:solidFill>
                  <a:schemeClr val="tx1"/>
                </a:solidFill>
              </a:rPr>
              <a:t>-sRNA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37D3142-5186-4DAB-907E-39EA44298542}"/>
              </a:ext>
            </a:extLst>
          </p:cNvPr>
          <p:cNvSpPr txBox="1"/>
          <p:nvPr/>
        </p:nvSpPr>
        <p:spPr>
          <a:xfrm>
            <a:off x="3973231" y="3234653"/>
            <a:ext cx="10193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FF0000"/>
                </a:solidFill>
                <a:latin typeface="Adobe 黑体 Std R" panose="020B0400000000000000" pitchFamily="34" charset="-122"/>
                <a:ea typeface="Adobe 黑体 Std R" panose="020B0400000000000000" pitchFamily="34" charset="-122"/>
              </a:rPr>
              <a:t>Infection</a:t>
            </a:r>
            <a:endParaRPr lang="zh-CN" altLang="en-US" sz="1600" dirty="0">
              <a:solidFill>
                <a:srgbClr val="FF0000"/>
              </a:solidFill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EF5518BD-EB82-484C-AD26-C7341DFFBD86}"/>
              </a:ext>
            </a:extLst>
          </p:cNvPr>
          <p:cNvSpPr txBox="1"/>
          <p:nvPr/>
        </p:nvSpPr>
        <p:spPr>
          <a:xfrm>
            <a:off x="1219926" y="2660509"/>
            <a:ext cx="10865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i="1" dirty="0">
                <a:solidFill>
                  <a:srgbClr val="FF0000"/>
                </a:solidFill>
                <a:latin typeface="Adobe 黑体 Std R" panose="020B0400000000000000" pitchFamily="34" charset="-122"/>
                <a:ea typeface="Adobe 黑体 Std R" panose="020B0400000000000000" pitchFamily="34" charset="-122"/>
              </a:rPr>
              <a:t>P. infestans</a:t>
            </a:r>
            <a:endParaRPr lang="zh-CN" altLang="en-US" sz="1200" i="1" dirty="0">
              <a:solidFill>
                <a:srgbClr val="FF0000"/>
              </a:solidFill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DE77194-66CD-4C4D-9437-02ACE7508D5D}"/>
              </a:ext>
            </a:extLst>
          </p:cNvPr>
          <p:cNvSpPr txBox="1"/>
          <p:nvPr/>
        </p:nvSpPr>
        <p:spPr>
          <a:xfrm>
            <a:off x="7072297" y="2660509"/>
            <a:ext cx="14172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FF0000"/>
                </a:solidFill>
                <a:latin typeface="Adobe 黑体 Std R" panose="020B0400000000000000" pitchFamily="34" charset="-122"/>
                <a:ea typeface="Adobe 黑体 Std R" panose="020B0400000000000000" pitchFamily="34" charset="-122"/>
              </a:rPr>
              <a:t>Potato leaves</a:t>
            </a:r>
            <a:endParaRPr lang="zh-CN" altLang="en-US" sz="1200" dirty="0">
              <a:solidFill>
                <a:srgbClr val="FF0000"/>
              </a:solidFill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D127432F-DA1D-4545-9361-6BF271C8E571}"/>
              </a:ext>
            </a:extLst>
          </p:cNvPr>
          <p:cNvCxnSpPr/>
          <p:nvPr/>
        </p:nvCxnSpPr>
        <p:spPr>
          <a:xfrm>
            <a:off x="3881034" y="4786591"/>
            <a:ext cx="692953" cy="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E2538168-526E-418D-B603-56F03E9A6890}"/>
              </a:ext>
            </a:extLst>
          </p:cNvPr>
          <p:cNvSpPr txBox="1"/>
          <p:nvPr/>
        </p:nvSpPr>
        <p:spPr>
          <a:xfrm>
            <a:off x="4766945" y="4428469"/>
            <a:ext cx="72196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rgbClr val="FF0000"/>
                </a:solidFill>
                <a:latin typeface="Adobe 黑体 Std R" panose="020B0400000000000000" pitchFamily="34" charset="-122"/>
                <a:ea typeface="Adobe 黑体 Std R" panose="020B0400000000000000" pitchFamily="34" charset="-122"/>
              </a:rPr>
              <a:t>24hr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rgbClr val="FF0000"/>
                </a:solidFill>
                <a:latin typeface="Adobe 黑体 Std R" panose="020B0400000000000000" pitchFamily="34" charset="-122"/>
                <a:ea typeface="Adobe 黑体 Std R" panose="020B0400000000000000" pitchFamily="34" charset="-122"/>
              </a:rPr>
              <a:t>48hr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rgbClr val="FF0000"/>
                </a:solidFill>
                <a:latin typeface="Adobe 黑体 Std R" panose="020B0400000000000000" pitchFamily="34" charset="-122"/>
                <a:ea typeface="Adobe 黑体 Std R" panose="020B0400000000000000" pitchFamily="34" charset="-122"/>
              </a:rPr>
              <a:t>72hr</a:t>
            </a:r>
            <a:endParaRPr lang="zh-CN" altLang="en-US" sz="1400" dirty="0">
              <a:solidFill>
                <a:srgbClr val="FF0000"/>
              </a:solidFill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</p:txBody>
      </p:sp>
      <p:sp>
        <p:nvSpPr>
          <p:cNvPr id="17" name="线形标注 2 14">
            <a:extLst>
              <a:ext uri="{FF2B5EF4-FFF2-40B4-BE49-F238E27FC236}">
                <a16:creationId xmlns:a16="http://schemas.microsoft.com/office/drawing/2014/main" id="{311BC91D-0F42-4315-A05B-1B2C29879205}"/>
              </a:ext>
            </a:extLst>
          </p:cNvPr>
          <p:cNvSpPr/>
          <p:nvPr/>
        </p:nvSpPr>
        <p:spPr>
          <a:xfrm>
            <a:off x="4514117" y="5667908"/>
            <a:ext cx="1020309" cy="332068"/>
          </a:xfrm>
          <a:prstGeom prst="borderCallout2">
            <a:avLst>
              <a:gd name="adj1" fmla="val 50750"/>
              <a:gd name="adj2" fmla="val -5610"/>
              <a:gd name="adj3" fmla="val 50749"/>
              <a:gd name="adj4" fmla="val -43899"/>
              <a:gd name="adj5" fmla="val -126433"/>
              <a:gd name="adj6" fmla="val -132311"/>
            </a:avLst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</a:rPr>
              <a:t>sRNA</a:t>
            </a:r>
            <a:endParaRPr lang="zh-CN" altLang="en-US" sz="1400" dirty="0">
              <a:solidFill>
                <a:schemeClr val="tx1"/>
              </a:solidFill>
            </a:endParaRPr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D79DFAD-4946-4FC9-98ED-2E1677A89A23}"/>
              </a:ext>
            </a:extLst>
          </p:cNvPr>
          <p:cNvCxnSpPr/>
          <p:nvPr/>
        </p:nvCxnSpPr>
        <p:spPr>
          <a:xfrm>
            <a:off x="5393232" y="1594153"/>
            <a:ext cx="859773" cy="79579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A13D6A0B-6043-43EC-A9E6-AD55A89E7A28}"/>
              </a:ext>
            </a:extLst>
          </p:cNvPr>
          <p:cNvCxnSpPr/>
          <p:nvPr/>
        </p:nvCxnSpPr>
        <p:spPr>
          <a:xfrm flipV="1">
            <a:off x="5239483" y="2460166"/>
            <a:ext cx="1013522" cy="1073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灯片编号占位符 3">
            <a:extLst>
              <a:ext uri="{FF2B5EF4-FFF2-40B4-BE49-F238E27FC236}">
                <a16:creationId xmlns:a16="http://schemas.microsoft.com/office/drawing/2014/main" id="{EE95DED6-B828-43CC-A919-9C0ED8B0198A}"/>
              </a:ext>
            </a:extLst>
          </p:cNvPr>
          <p:cNvSpPr txBox="1">
            <a:spLocks/>
          </p:cNvSpPr>
          <p:nvPr/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75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3184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总体目标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CCAB9F6-0F21-4563-B17A-05D1AF68860B}"/>
              </a:ext>
            </a:extLst>
          </p:cNvPr>
          <p:cNvSpPr txBox="1"/>
          <p:nvPr/>
        </p:nvSpPr>
        <p:spPr>
          <a:xfrm>
            <a:off x="502444" y="1235471"/>
            <a:ext cx="8137921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l"/>
            </a:pP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以生物信息学及统计学为基础，通过对某真菌侵染某植物作用过程的</a:t>
            </a:r>
            <a:r>
              <a:rPr lang="en-US" altLang="zh-CN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microRNA</a:t>
            </a: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进行相关统计分析、筛选、挖掘出有可能对特定侵染机制相关的差异表达</a:t>
            </a:r>
            <a:r>
              <a:rPr lang="en-US" altLang="zh-CN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microRNA</a:t>
            </a: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，然后进行靶基因预测，进而进行通路富集分析</a:t>
            </a:r>
            <a:r>
              <a:rPr lang="en-US" altLang="zh-CN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, </a:t>
            </a: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得到有价值的数据，从而对具体生物实验的开展产生引导作用。</a:t>
            </a:r>
            <a:endParaRPr lang="en-US" altLang="zh-CN" sz="32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457200" indent="-457200">
              <a:buFont typeface="Wingdings" panose="05000000000000000000" pitchFamily="2" charset="2"/>
              <a:buChar char="l"/>
            </a:pP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532706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具体步骤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CCAB9F6-0F21-4563-B17A-05D1AF68860B}"/>
              </a:ext>
            </a:extLst>
          </p:cNvPr>
          <p:cNvSpPr txBox="1"/>
          <p:nvPr/>
        </p:nvSpPr>
        <p:spPr>
          <a:xfrm>
            <a:off x="502444" y="1152479"/>
            <a:ext cx="8137921" cy="4486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l"/>
            </a:pPr>
            <a:r>
              <a:rPr lang="zh-CN" altLang="en-US" sz="2400" dirty="0"/>
              <a:t>数据收集：</a:t>
            </a:r>
            <a:r>
              <a:rPr lang="en-US" altLang="zh-CN" sz="2400" dirty="0"/>
              <a:t>microRNA(</a:t>
            </a:r>
            <a:r>
              <a:rPr lang="zh-CN" altLang="en-US" sz="2400" dirty="0"/>
              <a:t>真菌、真菌侵染植物混合</a:t>
            </a:r>
            <a:r>
              <a:rPr lang="en-US" altLang="zh-CN" sz="2400" dirty="0"/>
              <a:t>)</a:t>
            </a:r>
            <a:r>
              <a:rPr lang="zh-CN" altLang="en-US" sz="2400" dirty="0"/>
              <a:t>和植物</a:t>
            </a:r>
            <a:r>
              <a:rPr lang="en-US" altLang="zh-CN" sz="2400" dirty="0"/>
              <a:t>mRNA</a:t>
            </a:r>
            <a:r>
              <a:rPr lang="zh-CN" altLang="en-US" sz="2400" dirty="0"/>
              <a:t>。</a:t>
            </a:r>
            <a:endParaRPr lang="en-US" altLang="zh-CN" sz="2400" dirty="0"/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l"/>
            </a:pPr>
            <a:r>
              <a:rPr lang="zh-CN" altLang="en-US" sz="2400" dirty="0"/>
              <a:t>数据处理：对真菌以及混合</a:t>
            </a:r>
            <a:r>
              <a:rPr lang="en-US" altLang="zh-CN" sz="2400" dirty="0"/>
              <a:t>microRNA</a:t>
            </a:r>
            <a:r>
              <a:rPr lang="zh-CN" altLang="en-US" sz="2400" dirty="0"/>
              <a:t>进行去接头、去低质量、归一化等预处理</a:t>
            </a:r>
            <a:r>
              <a:rPr lang="en-US" altLang="zh-CN" sz="2400" dirty="0"/>
              <a:t>(</a:t>
            </a:r>
            <a:r>
              <a:rPr lang="en-US" altLang="zh-CN" sz="2400" dirty="0" err="1"/>
              <a:t>sratoolkit</a:t>
            </a:r>
            <a:r>
              <a:rPr lang="zh-CN" altLang="en-US" sz="2400" dirty="0"/>
              <a:t>、</a:t>
            </a:r>
            <a:r>
              <a:rPr lang="en-US" altLang="zh-CN" sz="2400" dirty="0" err="1"/>
              <a:t>fastQC</a:t>
            </a:r>
            <a:r>
              <a:rPr lang="en-US" altLang="zh-CN" sz="2400" dirty="0"/>
              <a:t>)</a:t>
            </a:r>
            <a:r>
              <a:rPr lang="zh-CN" altLang="en-US" sz="2400" dirty="0"/>
              <a:t>，挖掘出差异表达的</a:t>
            </a:r>
            <a:r>
              <a:rPr lang="en-US" altLang="zh-CN" sz="2400" dirty="0"/>
              <a:t>microRNA</a:t>
            </a:r>
            <a:r>
              <a:rPr lang="zh-CN" altLang="en-US" sz="2400" dirty="0"/>
              <a:t>。</a:t>
            </a:r>
            <a:endParaRPr lang="en-US" altLang="zh-CN" sz="2400" dirty="0"/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l"/>
            </a:pPr>
            <a:r>
              <a:rPr lang="zh-CN" altLang="en-US" sz="2400" dirty="0"/>
              <a:t>对挖掘到的真菌</a:t>
            </a:r>
            <a:r>
              <a:rPr lang="en-US" altLang="zh-CN" sz="2400" dirty="0"/>
              <a:t>microRNA</a:t>
            </a:r>
            <a:r>
              <a:rPr lang="zh-CN" altLang="en-US" sz="2400" dirty="0"/>
              <a:t>向植物</a:t>
            </a:r>
            <a:r>
              <a:rPr lang="en-US" altLang="zh-CN" sz="2400" dirty="0"/>
              <a:t>mRNA</a:t>
            </a:r>
            <a:r>
              <a:rPr lang="zh-CN" altLang="en-US" sz="2400" dirty="0"/>
              <a:t>进行靶基因预测</a:t>
            </a:r>
            <a:r>
              <a:rPr lang="en-US" altLang="zh-CN" sz="2400" dirty="0"/>
              <a:t>(tapir),</a:t>
            </a:r>
            <a:r>
              <a:rPr lang="zh-CN" altLang="en-US" sz="2400" dirty="0"/>
              <a:t>得到转录本</a:t>
            </a:r>
            <a:r>
              <a:rPr lang="en-US" altLang="zh-CN" sz="2400" dirty="0"/>
              <a:t>ID</a:t>
            </a:r>
            <a:r>
              <a:rPr lang="zh-CN" altLang="en-US" sz="2400" dirty="0"/>
              <a:t>以及对应的基因</a:t>
            </a:r>
            <a:r>
              <a:rPr lang="en-US" altLang="zh-CN" sz="2400" dirty="0"/>
              <a:t>ID</a:t>
            </a:r>
            <a:r>
              <a:rPr lang="zh-CN" altLang="en-US" sz="2400" dirty="0"/>
              <a:t>。</a:t>
            </a:r>
            <a:endParaRPr lang="en-US" altLang="zh-CN" sz="2400" dirty="0"/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l"/>
            </a:pPr>
            <a:endParaRPr lang="en-US" altLang="zh-CN" sz="2400" dirty="0"/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l"/>
            </a:pPr>
            <a:endParaRPr lang="en-US" altLang="zh-CN" sz="2400" dirty="0"/>
          </a:p>
          <a:p>
            <a:pPr marL="457200" indent="-457200">
              <a:lnSpc>
                <a:spcPct val="120000"/>
              </a:lnSpc>
              <a:buFont typeface="Wingdings" panose="05000000000000000000" pitchFamily="2" charset="2"/>
              <a:buChar char="l"/>
            </a:pPr>
            <a:r>
              <a:rPr lang="zh-CN" altLang="en-US" sz="2400" dirty="0"/>
              <a:t>将上一步得到的基因</a:t>
            </a:r>
            <a:r>
              <a:rPr lang="en-US" altLang="zh-CN" sz="2400" dirty="0"/>
              <a:t>ID</a:t>
            </a:r>
            <a:r>
              <a:rPr lang="zh-CN" altLang="en-US" sz="2400" dirty="0"/>
              <a:t>进行通路富集分析</a:t>
            </a:r>
            <a:r>
              <a:rPr lang="en-US" altLang="zh-CN" sz="2400" dirty="0"/>
              <a:t>(David)</a:t>
            </a:r>
            <a:r>
              <a:rPr lang="zh-CN" altLang="en-US" sz="2400" dirty="0"/>
              <a:t>。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E9ADBF7-415F-4A72-872A-0C7FF79786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070" y="4364934"/>
            <a:ext cx="7866667" cy="590246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C349FF4A-B43F-491B-BE78-CFCF56A36EB5}"/>
              </a:ext>
            </a:extLst>
          </p:cNvPr>
          <p:cNvSpPr/>
          <p:nvPr/>
        </p:nvSpPr>
        <p:spPr>
          <a:xfrm>
            <a:off x="7184571" y="4373643"/>
            <a:ext cx="1245326" cy="224486"/>
          </a:xfrm>
          <a:prstGeom prst="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D587A83-F14C-4A18-BA43-C7C2291CEA87}"/>
              </a:ext>
            </a:extLst>
          </p:cNvPr>
          <p:cNvSpPr/>
          <p:nvPr/>
        </p:nvSpPr>
        <p:spPr>
          <a:xfrm>
            <a:off x="3191672" y="4789717"/>
            <a:ext cx="1284533" cy="155542"/>
          </a:xfrm>
          <a:prstGeom prst="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8344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数据来源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ECE7DD5-F11A-477C-9D1A-ED5E49BD8A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095"/>
          <a:stretch/>
        </p:blipFill>
        <p:spPr>
          <a:xfrm>
            <a:off x="295199" y="1072248"/>
            <a:ext cx="8552412" cy="51263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B7AB55C-B492-4C26-9906-EF994D737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567" y="1601864"/>
            <a:ext cx="7777675" cy="39800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E08F3EEF-85DD-49FE-8253-832921D90CB8}"/>
              </a:ext>
            </a:extLst>
          </p:cNvPr>
          <p:cNvSpPr/>
          <p:nvPr/>
        </p:nvSpPr>
        <p:spPr>
          <a:xfrm>
            <a:off x="763699" y="3054808"/>
            <a:ext cx="1239270" cy="49352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8310165-2394-42B4-B3FC-A75E94E3FB94}"/>
              </a:ext>
            </a:extLst>
          </p:cNvPr>
          <p:cNvSpPr/>
          <p:nvPr/>
        </p:nvSpPr>
        <p:spPr>
          <a:xfrm>
            <a:off x="776757" y="3372675"/>
            <a:ext cx="616609" cy="1368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3D0DC35C-A8DA-4EDF-AAC0-5A69B07722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19986"/>
            <a:ext cx="9144000" cy="5381985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9674B2EF-B52A-4476-86AF-CA7C1E0570D9}"/>
              </a:ext>
            </a:extLst>
          </p:cNvPr>
          <p:cNvSpPr/>
          <p:nvPr/>
        </p:nvSpPr>
        <p:spPr>
          <a:xfrm>
            <a:off x="26128" y="2480437"/>
            <a:ext cx="1523998" cy="131650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5EECC0DB-5A5C-4FEE-AAB5-616F5B8146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3645" y="141045"/>
            <a:ext cx="5680252" cy="66168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id="{98623498-8C0B-4DF6-8FEB-484A5943AF19}"/>
              </a:ext>
            </a:extLst>
          </p:cNvPr>
          <p:cNvSpPr/>
          <p:nvPr/>
        </p:nvSpPr>
        <p:spPr>
          <a:xfrm>
            <a:off x="4785402" y="1197641"/>
            <a:ext cx="2521257" cy="25745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A299F79-EC3F-45DE-9773-87840F78E9F5}"/>
              </a:ext>
            </a:extLst>
          </p:cNvPr>
          <p:cNvSpPr/>
          <p:nvPr/>
        </p:nvSpPr>
        <p:spPr>
          <a:xfrm>
            <a:off x="1785049" y="5311000"/>
            <a:ext cx="3727141" cy="7975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5FA83852-3818-4EE4-8B5E-FCFC1746E5A8}"/>
              </a:ext>
            </a:extLst>
          </p:cNvPr>
          <p:cNvSpPr/>
          <p:nvPr/>
        </p:nvSpPr>
        <p:spPr>
          <a:xfrm>
            <a:off x="1715605" y="3038953"/>
            <a:ext cx="4932252" cy="37878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D061AC04-E5AB-4DB0-BAA8-255B691A08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6611" y="139344"/>
            <a:ext cx="5726546" cy="66168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22" name="矩形 21">
            <a:extLst>
              <a:ext uri="{FF2B5EF4-FFF2-40B4-BE49-F238E27FC236}">
                <a16:creationId xmlns:a16="http://schemas.microsoft.com/office/drawing/2014/main" id="{8FFED5AB-DE33-4F48-8F3D-C18F49356999}"/>
              </a:ext>
            </a:extLst>
          </p:cNvPr>
          <p:cNvSpPr/>
          <p:nvPr/>
        </p:nvSpPr>
        <p:spPr>
          <a:xfrm>
            <a:off x="1682737" y="968601"/>
            <a:ext cx="5231450" cy="163797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762DFD5-8107-4DD2-B87A-52998CE0F2B4}"/>
              </a:ext>
            </a:extLst>
          </p:cNvPr>
          <p:cNvSpPr/>
          <p:nvPr/>
        </p:nvSpPr>
        <p:spPr>
          <a:xfrm>
            <a:off x="1691446" y="3411582"/>
            <a:ext cx="5231450" cy="15602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9148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  <p:bldP spid="18" grpId="0" animBg="1"/>
      <p:bldP spid="19" grpId="0" animBg="1"/>
      <p:bldP spid="20" grpId="0" animBg="1"/>
      <p:bldP spid="22" grpId="0" animBg="1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/>
              <a:t>数据收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CCAB9F6-0F21-4563-B17A-05D1AF68860B}"/>
              </a:ext>
            </a:extLst>
          </p:cNvPr>
          <p:cNvSpPr txBox="1"/>
          <p:nvPr/>
        </p:nvSpPr>
        <p:spPr>
          <a:xfrm>
            <a:off x="502444" y="1235471"/>
            <a:ext cx="81379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l"/>
            </a:pPr>
            <a:endParaRPr lang="zh-CN" altLang="en-US" sz="24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62B5897-113F-498A-830F-3E7D44DD8C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434" y="1697136"/>
            <a:ext cx="6933333" cy="223809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1C5601D5-7233-4227-A75E-667EF79E62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049" y="3541311"/>
            <a:ext cx="3466667" cy="240952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B968A9F-E495-4BB0-9176-8691DCA79F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44" y="1232619"/>
            <a:ext cx="7883911" cy="480393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00137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CEAAED90-2823-4D14-93A7-FC26844054D4}"/>
              </a:ext>
            </a:extLst>
          </p:cNvPr>
          <p:cNvSpPr/>
          <p:nvPr/>
        </p:nvSpPr>
        <p:spPr>
          <a:xfrm>
            <a:off x="2683502" y="2810469"/>
            <a:ext cx="3776996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80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Thanks</a:t>
            </a:r>
            <a:endParaRPr lang="zh-CN" altLang="en-US" sz="8000" b="1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faeb3860-0e02-4cc6-9f56-79d398ebaa4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44</TotalTime>
  <Words>210</Words>
  <Application>Microsoft Office PowerPoint</Application>
  <PresentationFormat>全屏显示(4:3)</PresentationFormat>
  <Paragraphs>36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7" baseType="lpstr">
      <vt:lpstr>Adobe 黑体 Std R</vt:lpstr>
      <vt:lpstr>华文楷体</vt:lpstr>
      <vt:lpstr>宋体</vt:lpstr>
      <vt:lpstr>微软雅黑</vt:lpstr>
      <vt:lpstr>Arial</vt:lpstr>
      <vt:lpstr>Calibri</vt:lpstr>
      <vt:lpstr>Wingdings</vt:lpstr>
      <vt:lpstr>主题5</vt:lpstr>
      <vt:lpstr>think-cell Slide</vt:lpstr>
      <vt:lpstr>论文进度汇报</vt:lpstr>
      <vt:lpstr>PowerPoint 演示文稿</vt:lpstr>
      <vt:lpstr>背景</vt:lpstr>
      <vt:lpstr>总体目标</vt:lpstr>
      <vt:lpstr>具体步骤</vt:lpstr>
      <vt:lpstr>数据来源</vt:lpstr>
      <vt:lpstr>数据收集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hlssz@outlook.com</cp:lastModifiedBy>
  <cp:revision>66</cp:revision>
  <cp:lastPrinted>2018-06-07T16:00:00Z</cp:lastPrinted>
  <dcterms:created xsi:type="dcterms:W3CDTF">2018-06-07T16:00:00Z</dcterms:created>
  <dcterms:modified xsi:type="dcterms:W3CDTF">2018-09-06T08:2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